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1"/>
  </p:notesMasterIdLst>
  <p:handoutMasterIdLst>
    <p:handoutMasterId r:id="rId92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7" r:id="rId76"/>
    <p:sldId id="358" r:id="rId77"/>
    <p:sldId id="354" r:id="rId78"/>
    <p:sldId id="353" r:id="rId79"/>
    <p:sldId id="355" r:id="rId80"/>
    <p:sldId id="359" r:id="rId81"/>
    <p:sldId id="360" r:id="rId82"/>
    <p:sldId id="290" r:id="rId83"/>
    <p:sldId id="339" r:id="rId84"/>
    <p:sldId id="281" r:id="rId85"/>
    <p:sldId id="289" r:id="rId86"/>
    <p:sldId id="347" r:id="rId87"/>
    <p:sldId id="348" r:id="rId88"/>
    <p:sldId id="342" r:id="rId89"/>
    <p:sldId id="356" r:id="rId9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notesMaster" Target="notesMasters/notes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mrulas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Aninhadas e Auditoria de Formula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O </a:t>
            </a:r>
            <a:r>
              <a:rPr lang="pt-BR" sz="1600" dirty="0"/>
              <a:t>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Vantagem</a:t>
            </a:r>
            <a:r>
              <a:rPr lang="pt-BR" sz="1600" dirty="0"/>
              <a:t>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/>
              <a:t>Desvantagem: complexidade em rastrear e montar logica</a:t>
            </a:r>
            <a:r>
              <a:rPr lang="pt-BR" sz="1600" dirty="0" smtClean="0"/>
              <a:t>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Auditoria de Form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onsegue rastear erros e avaliar passo a passo o resultado de formulas. Muito útil para formulas complexas e aninhad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aminho: Guia formulas, Grupo Auditoria de Formulas, Comando Verificação de Erros (somente se formula trouxer erros) ou Avaliar formula (mostra etapas da formula)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6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2786" y="4518211"/>
            <a:ext cx="3960833" cy="211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7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anterior (calcular comissão) usando apenas </a:t>
            </a:r>
            <a:r>
              <a:rPr lang="pt-BR" sz="1800" dirty="0"/>
              <a:t>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aça separado e depois junte tudo em uma única formula usando SE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Multiplicaçã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Se, ...auditor de formulas se </a:t>
            </a:r>
            <a:r>
              <a:rPr lang="pt-BR" sz="1800" dirty="0" err="1" smtClean="0"/>
              <a:t>necessario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16660360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tervalos Nomead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Permite você deixar um intervalos de células “</a:t>
            </a:r>
            <a:r>
              <a:rPr lang="pt-BR" sz="1800" dirty="0" err="1" smtClean="0"/>
              <a:t>Pre-definido</a:t>
            </a:r>
            <a:r>
              <a:rPr lang="pt-BR" sz="1800" dirty="0" smtClean="0"/>
              <a:t>” para agilizar o uso de formulas e sele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omo nome definido do intervalo, basta apenas utiliza-lo ao invés de selecionar as cél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aminho: Com </a:t>
            </a:r>
            <a:r>
              <a:rPr lang="pt-BR" sz="1800" dirty="0" smtClean="0"/>
              <a:t>o intervalo selecionado, Guia formulas, grupo Nomes Definidos , Gerenciador de Nomes e NOVO ou Digitar o nome do intervalo na caixa de  “Endereço da </a:t>
            </a:r>
            <a:r>
              <a:rPr lang="pt-BR" sz="1800" dirty="0" err="1" smtClean="0"/>
              <a:t>Celula</a:t>
            </a:r>
            <a:r>
              <a:rPr lang="pt-BR" sz="1800" dirty="0" smtClean="0"/>
              <a:t>”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244" y="3805517"/>
            <a:ext cx="3536128" cy="276740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7681" y="3805517"/>
            <a:ext cx="2371725" cy="1085850"/>
          </a:xfrm>
          <a:prstGeom prst="rect">
            <a:avLst/>
          </a:prstGeom>
        </p:spPr>
      </p:pic>
      <p:sp>
        <p:nvSpPr>
          <p:cNvPr id="4" name="Texto Explicativo Retangular 3"/>
          <p:cNvSpPr/>
          <p:nvPr/>
        </p:nvSpPr>
        <p:spPr>
          <a:xfrm>
            <a:off x="5239869" y="5023821"/>
            <a:ext cx="1623509" cy="527125"/>
          </a:xfrm>
          <a:prstGeom prst="wedgeRectCallout">
            <a:avLst>
              <a:gd name="adj1" fmla="val -30119"/>
              <a:gd name="adj2" fmla="val -2293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Digite o Nome do intervalo nesta Caixa onde esta J10. EX: Vendas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9591837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76</TotalTime>
  <Words>6147</Words>
  <Application>Microsoft Office PowerPoint</Application>
  <PresentationFormat>Widescreen</PresentationFormat>
  <Paragraphs>821</Paragraphs>
  <Slides>89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9</vt:i4>
      </vt:variant>
    </vt:vector>
  </HeadingPairs>
  <TitlesOfParts>
    <vt:vector size="96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417</cp:revision>
  <dcterms:created xsi:type="dcterms:W3CDTF">2018-08-19T15:50:37Z</dcterms:created>
  <dcterms:modified xsi:type="dcterms:W3CDTF">2018-12-14T02:28:11Z</dcterms:modified>
</cp:coreProperties>
</file>